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35" r:id="rId2"/>
    <p:sldId id="442" r:id="rId3"/>
    <p:sldId id="441" r:id="rId4"/>
    <p:sldId id="437" r:id="rId5"/>
    <p:sldId id="443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24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24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56944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61366" y="344169"/>
            <a:ext cx="6696225" cy="995362"/>
          </a:xfrm>
        </p:spPr>
        <p:txBody>
          <a:bodyPr/>
          <a:lstStyle/>
          <a:p>
            <a:r>
              <a:rPr lang="de-DE" dirty="0" smtClean="0"/>
              <a:t>GOAL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4861367" y="1753201"/>
            <a:ext cx="6696226" cy="4759325"/>
          </a:xfrm>
        </p:spPr>
        <p:txBody>
          <a:bodyPr/>
          <a:lstStyle/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wa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asic</a:t>
            </a:r>
            <a:r>
              <a:rPr lang="de-DE" dirty="0" smtClean="0"/>
              <a:t> </a:t>
            </a:r>
            <a:r>
              <a:rPr lang="de-DE" dirty="0" err="1" smtClean="0"/>
              <a:t>princip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loud Native Computing</a:t>
            </a:r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ocker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ev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 smtClean="0"/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C/OS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ev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 smtClean="0"/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basically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C/OS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/>
          </a:p>
        </p:txBody>
      </p:sp>
      <p:pic>
        <p:nvPicPr>
          <p:cNvPr id="28674" name="Picture 2" descr="http://img.sparknotes.com/content/sparklife/sparktalk/studytipsfromfaye_LargeWid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38" r="13286"/>
          <a:stretch/>
        </p:blipFill>
        <p:spPr bwMode="auto">
          <a:xfrm>
            <a:off x="0" y="0"/>
            <a:ext cx="4710896" cy="667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34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0</TotalTime>
  <Words>150</Words>
  <Application>Microsoft Macintosh PowerPoint</Application>
  <PresentationFormat>Widescreen</PresentationFormat>
  <Paragraphs>3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 Narrow</vt:lpstr>
      <vt:lpstr>Calibri</vt:lpstr>
      <vt:lpstr>Cambria Math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The Cloud Native Stack</vt:lpstr>
      <vt:lpstr>PowerPoint Presentation</vt:lpstr>
      <vt:lpstr>PowerPoint Presentation</vt:lpstr>
      <vt:lpstr>GOALS</vt:lpstr>
    </vt:vector>
  </TitlesOfParts>
  <Company>QAware GmbH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5</cp:revision>
  <dcterms:created xsi:type="dcterms:W3CDTF">2014-10-08T07:51:16Z</dcterms:created>
  <dcterms:modified xsi:type="dcterms:W3CDTF">2016-10-24T18:31:17Z</dcterms:modified>
</cp:coreProperties>
</file>